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media/image3.jpg" ContentType="image/png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0" r:id="rId3"/>
    <p:sldId id="257" r:id="rId4"/>
    <p:sldId id="258" r:id="rId5"/>
    <p:sldId id="259" r:id="rId6"/>
  </p:sldIdLst>
  <p:sldSz cx="12192000" cy="6858000"/>
  <p:notesSz cx="6858000" cy="9144000"/>
  <p:custDataLst>
    <p:tags r:id="rId7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8B35"/>
    <a:srgbClr val="EE2626"/>
    <a:srgbClr val="FBAE3B"/>
    <a:srgbClr val="C3D5E9"/>
    <a:srgbClr val="FAA73A"/>
    <a:srgbClr val="F679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Objects="1" showGuides="1">
      <p:cViewPr>
        <p:scale>
          <a:sx n="66" d="100"/>
          <a:sy n="66" d="100"/>
        </p:scale>
        <p:origin x="1330" y="653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7804A86-85FF-FD50-8325-042505D689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2C48116C-8446-4E3A-796B-65AC1B4ED1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FF045827-E22D-CF73-7B32-D8940CAB5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89737-7F33-4E42-ADF7-1BA386B5855C}" type="datetimeFigureOut">
              <a:rPr kumimoji="1" lang="ja-JP" altLang="en-US" smtClean="0"/>
              <a:t>2024/7/3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EB76307-821B-3293-B5EF-C76FF2E178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4AD75614-5CA3-6429-A452-FF815335F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14242-5483-4075-87A1-5F29C544DC6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342533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25CC64A-00D8-6625-F777-CCF158503B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63A7F7A2-DE53-C90B-2E28-CB851B7B69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7D7CECBC-247C-E493-DACA-BB8BD6C657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89737-7F33-4E42-ADF7-1BA386B5855C}" type="datetimeFigureOut">
              <a:rPr kumimoji="1" lang="ja-JP" altLang="en-US" smtClean="0"/>
              <a:t>2024/7/3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CDD027F-0B1C-C818-FF5F-3184E8EB1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A8346B0-16F4-E97C-D0F8-7D84212918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14242-5483-4075-87A1-5F29C544DC6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690118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60A30B67-6162-078E-C2D3-A976675CCDA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CCBB7BA2-9488-83CD-C454-87BBF1FEF9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02BECE11-7C77-3351-B1B4-C431B6195C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89737-7F33-4E42-ADF7-1BA386B5855C}" type="datetimeFigureOut">
              <a:rPr kumimoji="1" lang="ja-JP" altLang="en-US" smtClean="0"/>
              <a:t>2024/7/3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1C4D8443-686E-75C6-5BC5-D28E673796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44044AC2-2389-D95E-F802-2F952F5244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14242-5483-4075-87A1-5F29C544DC6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328841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0CF324B-F963-E7F9-6D91-3FD0DF8654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A09883CC-F7F4-0D9E-35A7-5B7F74BD50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8DBE5750-5866-F139-83BD-D955752F2B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89737-7F33-4E42-ADF7-1BA386B5855C}" type="datetimeFigureOut">
              <a:rPr kumimoji="1" lang="ja-JP" altLang="en-US" smtClean="0"/>
              <a:t>2024/7/3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1885DBF0-3D98-F03C-F65E-A0077091B0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7ED29AF-8F3E-377E-E902-F84ABEBFDA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14242-5483-4075-87A1-5F29C544DC6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219817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8735F7B-6E07-E74B-70D8-D7E3A231D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459C4D6D-CBE0-6A17-BC8C-8E84A656BE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5DE0E3BD-B455-D226-422C-C17E3DD22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89737-7F33-4E42-ADF7-1BA386B5855C}" type="datetimeFigureOut">
              <a:rPr kumimoji="1" lang="ja-JP" altLang="en-US" smtClean="0"/>
              <a:t>2024/7/3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DECAD2D4-B75F-4051-0596-35CB546D0F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E9637F9-02F1-190F-419A-C839C7B36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14242-5483-4075-87A1-5F29C544DC6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6024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B991FC2-5D3F-3619-0AC2-8E35D0F5F3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76610040-359F-D534-1870-A7052B43C2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4F8AF911-3F36-56B3-26C1-5831BC6550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206BE3-018E-63CB-A6EA-744E9F75DB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89737-7F33-4E42-ADF7-1BA386B5855C}" type="datetimeFigureOut">
              <a:rPr kumimoji="1" lang="ja-JP" altLang="en-US" smtClean="0"/>
              <a:t>2024/7/3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316D9219-4861-42FD-C60C-7692C1152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A10FE695-E64B-2B49-7270-0851A9F32B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14242-5483-4075-87A1-5F29C544DC6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178755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FC79187-EF89-B979-0BD2-74ECB65DF6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80B506C-9B8C-F83E-6A9F-2499AF5BCA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720C2BBB-6347-311A-BA70-B7DCAFAE4E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55A7F1E9-71B8-0354-5225-AEF26F7662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AE15A8BE-4FF6-5510-A979-232BD2808AA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B8C8789A-99BC-F33C-E2FD-3CB937982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89737-7F33-4E42-ADF7-1BA386B5855C}" type="datetimeFigureOut">
              <a:rPr kumimoji="1" lang="ja-JP" altLang="en-US" smtClean="0"/>
              <a:t>2024/7/3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964834E1-BD8C-B69F-2776-00ACBCC6F0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79AD859D-7A0F-10FC-707C-9517307AA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14242-5483-4075-87A1-5F29C544DC6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271527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B9CB938-659A-BDA8-FA88-8E11FD638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CDFC1A27-3712-D77C-5EFD-0523B99AED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89737-7F33-4E42-ADF7-1BA386B5855C}" type="datetimeFigureOut">
              <a:rPr kumimoji="1" lang="ja-JP" altLang="en-US" smtClean="0"/>
              <a:t>2024/7/3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CB33C1B0-3D7D-7A14-3005-0BA80FB08F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7AF55597-D923-0449-3137-3517391FD4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14242-5483-4075-87A1-5F29C544DC6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81811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5977C9DA-DB9D-680A-066F-37A11DC551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89737-7F33-4E42-ADF7-1BA386B5855C}" type="datetimeFigureOut">
              <a:rPr kumimoji="1" lang="ja-JP" altLang="en-US" smtClean="0"/>
              <a:t>2024/7/3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4F951A47-0A93-0C92-199C-0D242CBE4D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AB83C630-5D64-FFC5-DA5F-34AF6FA570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14242-5483-4075-87A1-5F29C544DC6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05181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B12540B-39C0-CB5F-AD1D-94EF4E730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EE4D79A8-9CAE-CB84-07EA-316A6D6D66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B39239D2-A9B0-7340-4A29-CB13623F42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2B664B99-ADDB-2867-0A04-6F1D3397C1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89737-7F33-4E42-ADF7-1BA386B5855C}" type="datetimeFigureOut">
              <a:rPr kumimoji="1" lang="ja-JP" altLang="en-US" smtClean="0"/>
              <a:t>2024/7/3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4A248C2C-BBED-FD49-C2BA-6F3B946098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DAE5D7F4-25DA-D09E-52A8-B491ED3BC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14242-5483-4075-87A1-5F29C544DC6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468095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45873C3-5BDA-E6A1-59B8-1A885A281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574DA066-4717-B48B-D08B-1326F2873D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248BD589-BF41-6D16-1EBB-D1DC080439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FA9FC1A3-2993-5AE0-2BA5-459115355C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89737-7F33-4E42-ADF7-1BA386B5855C}" type="datetimeFigureOut">
              <a:rPr kumimoji="1" lang="ja-JP" altLang="en-US" smtClean="0"/>
              <a:t>2024/7/3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8BD7489A-DE91-3552-9554-277E739AF6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35A32A7F-4955-1600-6541-AE5736DA12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D14242-5483-4075-87A1-5F29C544DC6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186417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B8F82CF-7FBE-C70A-8CE9-9E57DC43B4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43383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353" imgH="353" progId="TCLayout.ActiveDocument.1">
                  <p:embed/>
                </p:oleObj>
              </mc:Choice>
              <mc:Fallback>
                <p:oleObj name="think-cell スライド" r:id="rId1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B72EA9E1-A62E-32D6-D0F0-83680C12E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5BD274AB-A939-7588-6D2A-299B291099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B880031-8574-7291-4808-E659F65F67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D189737-7F33-4E42-ADF7-1BA386B5855C}" type="datetimeFigureOut">
              <a:rPr kumimoji="1" lang="ja-JP" altLang="en-US" smtClean="0"/>
              <a:t>2024/7/3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D8E1D08-AEA1-A656-6D54-0143110076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99723399-70FA-5D70-3CA3-9CBF7ABED6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3D14242-5483-4075-87A1-5F29C544DC6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74466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jpg"/><Relationship Id="rId5" Type="http://schemas.openxmlformats.org/officeDocument/2006/relationships/image" Target="../media/image2.jpg"/><Relationship Id="rId10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oleObject" Target="../embeddings/oleObject3.bin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5" Type="http://schemas.openxmlformats.org/officeDocument/2006/relationships/image" Target="../media/image7.jp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5" Type="http://schemas.openxmlformats.org/officeDocument/2006/relationships/image" Target="../media/image13.jp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9E837F1-9FCC-CB5F-95FF-D3A2055283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5205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53" imgH="353" progId="TCLayout.ActiveDocument.1">
                  <p:embed/>
                </p:oleObj>
              </mc:Choice>
              <mc:Fallback>
                <p:oleObj name="think-cell スライド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4CB4AF27-2AFB-FB07-E33E-307067B9BC9B}"/>
              </a:ext>
            </a:extLst>
          </p:cNvPr>
          <p:cNvGrpSpPr/>
          <p:nvPr/>
        </p:nvGrpSpPr>
        <p:grpSpPr>
          <a:xfrm>
            <a:off x="-1" y="3176"/>
            <a:ext cx="12192001" cy="6854824"/>
            <a:chOff x="-1" y="3176"/>
            <a:chExt cx="12192001" cy="6851648"/>
          </a:xfrm>
        </p:grpSpPr>
        <p:pic>
          <p:nvPicPr>
            <p:cNvPr id="12" name="図 11" descr="アパートのビル&#10;&#10;中程度の精度で自動的に生成された説明">
              <a:extLst>
                <a:ext uri="{FF2B5EF4-FFF2-40B4-BE49-F238E27FC236}">
                  <a16:creationId xmlns:a16="http://schemas.microsoft.com/office/drawing/2014/main" id="{EE11D50E-61F5-D27B-9F81-F247BCD50B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alphaModFix amt="4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9" b="4854"/>
            <a:stretch/>
          </p:blipFill>
          <p:spPr>
            <a:xfrm>
              <a:off x="-1" y="3432510"/>
              <a:ext cx="6168009" cy="3422314"/>
            </a:xfrm>
            <a:prstGeom prst="rect">
              <a:avLst/>
            </a:prstGeom>
          </p:spPr>
        </p:pic>
        <p:pic>
          <p:nvPicPr>
            <p:cNvPr id="6" name="図 5" descr="建物に掛けられた看板&#10;&#10;自動的に生成された説明">
              <a:extLst>
                <a:ext uri="{FF2B5EF4-FFF2-40B4-BE49-F238E27FC236}">
                  <a16:creationId xmlns:a16="http://schemas.microsoft.com/office/drawing/2014/main" id="{C449CE28-9EC8-0EED-B664-F7B9084A1A6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alphaModFix amt="4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6000" y="3176"/>
              <a:ext cx="6096000" cy="3425824"/>
            </a:xfrm>
            <a:prstGeom prst="rect">
              <a:avLst/>
            </a:prstGeom>
          </p:spPr>
        </p:pic>
        <p:pic>
          <p:nvPicPr>
            <p:cNvPr id="8" name="図 7" descr="家の前に駐車した飛行機&#10;&#10;中程度の精度で自動的に生成された説明">
              <a:extLst>
                <a:ext uri="{FF2B5EF4-FFF2-40B4-BE49-F238E27FC236}">
                  <a16:creationId xmlns:a16="http://schemas.microsoft.com/office/drawing/2014/main" id="{1CDA931C-6C52-F0D1-DCEF-7729ECC335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alphaModFix amt="42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901" r="42354" b="23146"/>
            <a:stretch/>
          </p:blipFill>
          <p:spPr>
            <a:xfrm>
              <a:off x="6092974" y="3429000"/>
              <a:ext cx="6096000" cy="3425824"/>
            </a:xfrm>
            <a:prstGeom prst="rect">
              <a:avLst/>
            </a:prstGeom>
          </p:spPr>
        </p:pic>
        <p:pic>
          <p:nvPicPr>
            <p:cNvPr id="10" name="図 9" descr="屋外, 輸送, 人, 男 が含まれている画像&#10;&#10;自動的に生成された説明">
              <a:extLst>
                <a:ext uri="{FF2B5EF4-FFF2-40B4-BE49-F238E27FC236}">
                  <a16:creationId xmlns:a16="http://schemas.microsoft.com/office/drawing/2014/main" id="{DD1EEF4C-75A1-CF80-3428-161D80DA8C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alphaModFix amt="4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10" b="7810"/>
            <a:stretch/>
          </p:blipFill>
          <p:spPr>
            <a:xfrm>
              <a:off x="0" y="3176"/>
              <a:ext cx="6096000" cy="3429228"/>
            </a:xfrm>
            <a:prstGeom prst="rect">
              <a:avLst/>
            </a:prstGeom>
          </p:spPr>
        </p:pic>
      </p:grpSp>
      <p:pic>
        <p:nvPicPr>
          <p:cNvPr id="16" name="図 15" descr="アイコン&#10;&#10;低い精度で自動的に生成された説明">
            <a:extLst>
              <a:ext uri="{FF2B5EF4-FFF2-40B4-BE49-F238E27FC236}">
                <a16:creationId xmlns:a16="http://schemas.microsoft.com/office/drawing/2014/main" id="{D85F00FC-4A25-BD94-6B02-D0A5481FB27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1464" y="1484784"/>
            <a:ext cx="7416824" cy="3376100"/>
          </a:xfrm>
          <a:prstGeom prst="rect">
            <a:avLst/>
          </a:prstGeom>
        </p:spPr>
      </p:pic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ACF581FD-BAD2-9C54-0B6C-ED3B23B71A7F}"/>
              </a:ext>
            </a:extLst>
          </p:cNvPr>
          <p:cNvSpPr/>
          <p:nvPr/>
        </p:nvSpPr>
        <p:spPr>
          <a:xfrm>
            <a:off x="3863752" y="4489392"/>
            <a:ext cx="4392488" cy="11604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8800" b="1" dirty="0">
                <a:solidFill>
                  <a:schemeClr val="tx1"/>
                </a:solidFill>
                <a:latin typeface="Bahnschrift SemiCondensed" panose="020B0502040204020203" pitchFamily="34" charset="0"/>
              </a:rPr>
              <a:t>2024</a:t>
            </a:r>
            <a:endParaRPr kumimoji="1" lang="ja-JP" altLang="en-US" sz="4400" b="1" dirty="0">
              <a:solidFill>
                <a:schemeClr val="tx1"/>
              </a:solidFill>
              <a:latin typeface="Bahnschrift SemiCondensed" panose="020B0502040204020203" pitchFamily="34" charset="0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D3257372-B389-B088-92BC-F7B1D714BCAD}"/>
              </a:ext>
            </a:extLst>
          </p:cNvPr>
          <p:cNvSpPr/>
          <p:nvPr/>
        </p:nvSpPr>
        <p:spPr>
          <a:xfrm>
            <a:off x="1739516" y="50976"/>
            <a:ext cx="8640960" cy="11604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3600" b="1">
                <a:solidFill>
                  <a:schemeClr val="tx1"/>
                </a:solidFill>
                <a:latin typeface="Bahnschrift SemiCondensed" panose="020B0502040204020203" pitchFamily="34" charset="0"/>
              </a:rPr>
              <a:t>さがみはらで“魅せる”事業を創り出す</a:t>
            </a:r>
            <a:endParaRPr kumimoji="1" lang="ja-JP" altLang="en-US" sz="3600" b="1" dirty="0">
              <a:solidFill>
                <a:schemeClr val="tx1"/>
              </a:solidFill>
              <a:latin typeface="Bahnschrift SemiCondensed" panose="020B0502040204020203" pitchFamily="34" charset="0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5140055C-7487-A6CE-FC96-B4A89CA37FCA}"/>
              </a:ext>
            </a:extLst>
          </p:cNvPr>
          <p:cNvSpPr/>
          <p:nvPr/>
        </p:nvSpPr>
        <p:spPr>
          <a:xfrm>
            <a:off x="3863752" y="54488"/>
            <a:ext cx="4392488" cy="11604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4400" b="1" dirty="0">
              <a:solidFill>
                <a:schemeClr val="tx1"/>
              </a:solidFill>
              <a:latin typeface="Bahnschrift SemiCondensed" panose="020B0502040204020203" pitchFamily="34" charset="0"/>
            </a:endParaRPr>
          </a:p>
        </p:txBody>
      </p:sp>
      <p:cxnSp>
        <p:nvCxnSpPr>
          <p:cNvPr id="7" name="直線矢印コネクタ 6">
            <a:extLst>
              <a:ext uri="{FF2B5EF4-FFF2-40B4-BE49-F238E27FC236}">
                <a16:creationId xmlns:a16="http://schemas.microsoft.com/office/drawing/2014/main" id="{7DF98C48-48B5-C084-E0B9-D0FEF2BBDFF4}"/>
              </a:ext>
            </a:extLst>
          </p:cNvPr>
          <p:cNvCxnSpPr>
            <a:cxnSpLocks/>
          </p:cNvCxnSpPr>
          <p:nvPr/>
        </p:nvCxnSpPr>
        <p:spPr>
          <a:xfrm>
            <a:off x="1183931" y="631178"/>
            <a:ext cx="914400" cy="0"/>
          </a:xfrm>
          <a:prstGeom prst="straightConnector1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6F7F12AB-F6F9-3AA0-BA3D-5F56626AFC5A}"/>
              </a:ext>
            </a:extLst>
          </p:cNvPr>
          <p:cNvCxnSpPr>
            <a:cxnSpLocks/>
          </p:cNvCxnSpPr>
          <p:nvPr/>
        </p:nvCxnSpPr>
        <p:spPr>
          <a:xfrm>
            <a:off x="10056440" y="631178"/>
            <a:ext cx="914400" cy="0"/>
          </a:xfrm>
          <a:prstGeom prst="straightConnector1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DF249BE6-E6CB-4B25-6BAF-D4966336EB4A}"/>
              </a:ext>
            </a:extLst>
          </p:cNvPr>
          <p:cNvSpPr/>
          <p:nvPr/>
        </p:nvSpPr>
        <p:spPr>
          <a:xfrm>
            <a:off x="2243573" y="6063584"/>
            <a:ext cx="7848872" cy="504546"/>
          </a:xfrm>
          <a:prstGeom prst="roundRect">
            <a:avLst>
              <a:gd name="adj" fmla="val 33544"/>
            </a:avLst>
          </a:prstGeom>
          <a:gradFill flip="none" rotWithShape="1">
            <a:gsLst>
              <a:gs pos="0">
                <a:srgbClr val="FBAE3B">
                  <a:alpha val="79000"/>
                </a:srgbClr>
              </a:gs>
              <a:gs pos="100000">
                <a:srgbClr val="EE2626">
                  <a:alpha val="75000"/>
                </a:srgbClr>
              </a:gs>
            </a:gsLst>
            <a:lin ang="0" scaled="1"/>
            <a:tileRect/>
          </a:gradFill>
          <a:ln w="63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b="1">
                <a:solidFill>
                  <a:schemeClr val="bg1"/>
                </a:solidFill>
              </a:rPr>
              <a:t>全国から起業家・スタートアップをお待ちしております！</a:t>
            </a:r>
          </a:p>
        </p:txBody>
      </p:sp>
    </p:spTree>
    <p:extLst>
      <p:ext uri="{BB962C8B-B14F-4D97-AF65-F5344CB8AC3E}">
        <p14:creationId xmlns:p14="http://schemas.microsoft.com/office/powerpoint/2010/main" val="729545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4FA1AB7-88CB-9A62-EFE0-4E750F68D4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9560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53" imgH="353" progId="TCLayout.ActiveDocument.1">
                  <p:embed/>
                </p:oleObj>
              </mc:Choice>
              <mc:Fallback>
                <p:oleObj name="think-cell スライド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4" name="Rectangle 11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3" name="図 2" descr="建物, 屋外, 座る, 男 が含まれている画像&#10;&#10;自動的に生成された説明">
            <a:extLst>
              <a:ext uri="{FF2B5EF4-FFF2-40B4-BE49-F238E27FC236}">
                <a16:creationId xmlns:a16="http://schemas.microsoft.com/office/drawing/2014/main" id="{AA0B31DB-26C5-BA4A-97C9-1863F488C05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8191" r="7528" b="1501"/>
          <a:stretch/>
        </p:blipFill>
        <p:spPr>
          <a:xfrm>
            <a:off x="4987516" y="0"/>
            <a:ext cx="7195085" cy="3514851"/>
          </a:xfrm>
          <a:prstGeom prst="rect">
            <a:avLst/>
          </a:prstGeom>
        </p:spPr>
      </p:pic>
      <p:pic>
        <p:nvPicPr>
          <p:cNvPr id="5" name="図 4" descr="屋外, 人, 男, 立つ が含まれている画像&#10;&#10;自動的に生成された説明">
            <a:extLst>
              <a:ext uri="{FF2B5EF4-FFF2-40B4-BE49-F238E27FC236}">
                <a16:creationId xmlns:a16="http://schemas.microsoft.com/office/drawing/2014/main" id="{8A8D4426-B876-B78E-672E-14C4F9314C9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17" r="3" b="15507"/>
          <a:stretch/>
        </p:blipFill>
        <p:spPr>
          <a:xfrm>
            <a:off x="4799856" y="3514851"/>
            <a:ext cx="7382745" cy="3343149"/>
          </a:xfrm>
          <a:prstGeom prst="rect">
            <a:avLst/>
          </a:prstGeom>
        </p:spPr>
      </p:pic>
      <p:pic>
        <p:nvPicPr>
          <p:cNvPr id="7" name="図 6" descr="屋内, テーブル, 座る, 吊るす が含まれている画像&#10;&#10;自動的に生成された説明">
            <a:extLst>
              <a:ext uri="{FF2B5EF4-FFF2-40B4-BE49-F238E27FC236}">
                <a16:creationId xmlns:a16="http://schemas.microsoft.com/office/drawing/2014/main" id="{FD4BEF6D-AC62-8859-E599-AF5F380A0FE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3" r="2" b="2"/>
          <a:stretch/>
        </p:blipFill>
        <p:spPr>
          <a:xfrm rot="5400000">
            <a:off x="-939557" y="941081"/>
            <a:ext cx="6900753" cy="5018592"/>
          </a:xfrm>
          <a:prstGeom prst="rect">
            <a:avLst/>
          </a:prstGeom>
        </p:spPr>
      </p:pic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0E40C03B-78E9-E326-D0BF-DC6AB79CF01D}"/>
              </a:ext>
            </a:extLst>
          </p:cNvPr>
          <p:cNvSpPr/>
          <p:nvPr/>
        </p:nvSpPr>
        <p:spPr>
          <a:xfrm>
            <a:off x="191344" y="5877272"/>
            <a:ext cx="3960440" cy="792088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2400" b="1" dirty="0">
                <a:solidFill>
                  <a:schemeClr val="accent2"/>
                </a:solidFill>
              </a:rPr>
              <a:t>昨年度実証の様子</a:t>
            </a:r>
          </a:p>
        </p:txBody>
      </p:sp>
      <p:pic>
        <p:nvPicPr>
          <p:cNvPr id="13" name="図 12" descr="人, 屋内, 男, 立つ が含まれている画像&#10;&#10;自動的に生成された説明">
            <a:extLst>
              <a:ext uri="{FF2B5EF4-FFF2-40B4-BE49-F238E27FC236}">
                <a16:creationId xmlns:a16="http://schemas.microsoft.com/office/drawing/2014/main" id="{B7F3C350-7BFE-C1AD-8E64-88D42D75479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10" r="2366"/>
          <a:stretch/>
        </p:blipFill>
        <p:spPr>
          <a:xfrm>
            <a:off x="2182677" y="70811"/>
            <a:ext cx="2516044" cy="2361789"/>
          </a:xfrm>
          <a:prstGeom prst="ellipse">
            <a:avLst/>
          </a:prstGeom>
          <a:ln w="1905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9492587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9E837F1-9FCC-CB5F-95FF-D3A2055283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53" imgH="353" progId="TCLayout.ActiveDocument.1">
                  <p:embed/>
                </p:oleObj>
              </mc:Choice>
              <mc:Fallback>
                <p:oleObj name="think-cell スライド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E837F1-9FCC-CB5F-95FF-D3A2055283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図 2" descr="部屋に集まっている人たち&#10;&#10;中程度の精度で自動的に生成された説明">
            <a:extLst>
              <a:ext uri="{FF2B5EF4-FFF2-40B4-BE49-F238E27FC236}">
                <a16:creationId xmlns:a16="http://schemas.microsoft.com/office/drawing/2014/main" id="{1AD11AD5-9A76-CDE8-06C9-3D3EAEF405C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92" b="4198"/>
          <a:stretch/>
        </p:blipFill>
        <p:spPr>
          <a:xfrm>
            <a:off x="0" y="0"/>
            <a:ext cx="12288688" cy="6858000"/>
          </a:xfrm>
          <a:prstGeom prst="rect">
            <a:avLst/>
          </a:prstGeom>
        </p:spPr>
      </p:pic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CFA27598-C622-2032-EA79-E288F68C6AF2}"/>
              </a:ext>
            </a:extLst>
          </p:cNvPr>
          <p:cNvSpPr/>
          <p:nvPr/>
        </p:nvSpPr>
        <p:spPr>
          <a:xfrm>
            <a:off x="191344" y="5877272"/>
            <a:ext cx="3960440" cy="792088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2400" b="1" dirty="0">
                <a:solidFill>
                  <a:schemeClr val="accent2"/>
                </a:solidFill>
              </a:rPr>
              <a:t>昨年度営業提案会の様子</a:t>
            </a:r>
          </a:p>
        </p:txBody>
      </p:sp>
    </p:spTree>
    <p:extLst>
      <p:ext uri="{BB962C8B-B14F-4D97-AF65-F5344CB8AC3E}">
        <p14:creationId xmlns:p14="http://schemas.microsoft.com/office/powerpoint/2010/main" val="31842975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3" name="図 2" descr="屋内, テーブル, 座る, ノートパソコン が含まれている画像&#10;&#10;自動的に生成された説明">
            <a:extLst>
              <a:ext uri="{FF2B5EF4-FFF2-40B4-BE49-F238E27FC236}">
                <a16:creationId xmlns:a16="http://schemas.microsoft.com/office/drawing/2014/main" id="{2F32E79C-E444-CE61-4563-32DF615C8EE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14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F92AE6E7-5715-5022-0B45-785F238774E2}"/>
              </a:ext>
            </a:extLst>
          </p:cNvPr>
          <p:cNvSpPr/>
          <p:nvPr/>
        </p:nvSpPr>
        <p:spPr>
          <a:xfrm>
            <a:off x="191344" y="5877272"/>
            <a:ext cx="3960440" cy="792088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2400" b="1" dirty="0">
                <a:solidFill>
                  <a:schemeClr val="accent2"/>
                </a:solidFill>
              </a:rPr>
              <a:t>昨年度金融機関向け</a:t>
            </a:r>
            <a:endParaRPr kumimoji="1" lang="en-US" altLang="ja-JP" sz="2400" b="1" dirty="0">
              <a:solidFill>
                <a:schemeClr val="accent2"/>
              </a:solidFill>
            </a:endParaRPr>
          </a:p>
          <a:p>
            <a:pPr algn="ctr"/>
            <a:r>
              <a:rPr kumimoji="1" lang="ja-JP" altLang="en-US" sz="2400" b="1" dirty="0">
                <a:solidFill>
                  <a:schemeClr val="accent2"/>
                </a:solidFill>
              </a:rPr>
              <a:t>提案会の様子</a:t>
            </a:r>
          </a:p>
        </p:txBody>
      </p:sp>
    </p:spTree>
    <p:extLst>
      <p:ext uri="{BB962C8B-B14F-4D97-AF65-F5344CB8AC3E}">
        <p14:creationId xmlns:p14="http://schemas.microsoft.com/office/powerpoint/2010/main" val="15167382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2B6CED-3AF9-637C-E0A4-48CFCB32B6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5967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53" imgH="353" progId="TCLayout.ActiveDocument.1">
                  <p:embed/>
                </p:oleObj>
              </mc:Choice>
              <mc:Fallback>
                <p:oleObj name="think-cell スライド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図 1" descr="講堂にいる人々&#10;&#10;自動的に生成された説明">
            <a:extLst>
              <a:ext uri="{FF2B5EF4-FFF2-40B4-BE49-F238E27FC236}">
                <a16:creationId xmlns:a16="http://schemas.microsoft.com/office/drawing/2014/main" id="{184BACA0-80E1-0907-7CFE-2A7C9452507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" t="25301" r="-2347" b="-18338"/>
          <a:stretch/>
        </p:blipFill>
        <p:spPr>
          <a:xfrm>
            <a:off x="-96688" y="0"/>
            <a:ext cx="12534188" cy="854156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F92AE6E7-5715-5022-0B45-785F238774E2}"/>
              </a:ext>
            </a:extLst>
          </p:cNvPr>
          <p:cNvSpPr/>
          <p:nvPr/>
        </p:nvSpPr>
        <p:spPr>
          <a:xfrm>
            <a:off x="191344" y="5877272"/>
            <a:ext cx="3960440" cy="792088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2400" b="1" dirty="0">
                <a:solidFill>
                  <a:schemeClr val="accent2"/>
                </a:solidFill>
              </a:rPr>
              <a:t>昨年度最終報告会の様子</a:t>
            </a:r>
          </a:p>
        </p:txBody>
      </p:sp>
    </p:spTree>
    <p:extLst>
      <p:ext uri="{BB962C8B-B14F-4D97-AF65-F5344CB8AC3E}">
        <p14:creationId xmlns:p14="http://schemas.microsoft.com/office/powerpoint/2010/main" val="2933175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</TotalTime>
  <Words>40</Words>
  <Application>Microsoft Office PowerPoint</Application>
  <PresentationFormat>ワイド画面</PresentationFormat>
  <Paragraphs>8</Paragraphs>
  <Slides>5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11" baseType="lpstr">
      <vt:lpstr>游ゴシック</vt:lpstr>
      <vt:lpstr>游ゴシック Light</vt:lpstr>
      <vt:lpstr>Arial</vt:lpstr>
      <vt:lpstr>Bahnschrift SemiCondensed</vt:lpstr>
      <vt:lpstr>Office テーマ</vt:lpstr>
      <vt:lpstr>think-cell スライド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中山　悠希(855498)経営コンサルティング部</dc:creator>
  <cp:lastModifiedBy>今井　祐一(853957)経営コンサルティング部</cp:lastModifiedBy>
  <cp:revision>3</cp:revision>
  <dcterms:created xsi:type="dcterms:W3CDTF">2024-07-03T05:41:45Z</dcterms:created>
  <dcterms:modified xsi:type="dcterms:W3CDTF">2024-07-03T06:54:55Z</dcterms:modified>
</cp:coreProperties>
</file>